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43" autoAdjust="0"/>
    <p:restoredTop sz="95291" autoAdjust="0"/>
  </p:normalViewPr>
  <p:slideViewPr>
    <p:cSldViewPr>
      <p:cViewPr varScale="1">
        <p:scale>
          <a:sx n="80" d="100"/>
          <a:sy n="80" d="100"/>
        </p:scale>
        <p:origin x="787" y="6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5/01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5/01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4008437" cy="3621087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b="1" dirty="0"/>
              <a:t>Railway Reservation System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dirty="0"/>
              <a:t>Completed end to end case study of Railway Reservation System Application along with JWT authentication, Swagger in MERN Stack.</a:t>
            </a:r>
            <a:r>
              <a:rPr lang="en-US" altLang="en-US" dirty="0"/>
              <a:t> React Bootstrap used for user interface.</a:t>
            </a: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83761" y="1346325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Mumbai</a:t>
            </a:r>
          </a:p>
          <a:p>
            <a:pPr eaLnBrk="1" hangingPunct="1"/>
            <a:endParaRPr lang="nl-NL" altLang="nl-NL" dirty="0"/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3581" y="1600324"/>
            <a:ext cx="2373313" cy="325438"/>
          </a:xfrm>
        </p:spPr>
        <p:txBody>
          <a:bodyPr/>
          <a:lstStyle/>
          <a:p>
            <a:pPr eaLnBrk="1" hangingPunct="1"/>
            <a:r>
              <a:rPr lang="nl-NL" altLang="nl-NL" dirty="0"/>
              <a:t>harshitha.g.r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298826" y="1843965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9841166341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8" y="2995613"/>
            <a:ext cx="4057650" cy="362108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sily adaptable and 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ve working knowledge on ReactJS and Java Microservice Development using Spring framework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ve knowledge and experience in data science and prediction model.</a:t>
            </a: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Technology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Electronics and Communication: 2018 - 2022</a:t>
            </a:r>
          </a:p>
          <a:p>
            <a:pPr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python</a:t>
            </a: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Java 8 /J2E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Data Science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MER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React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err="1"/>
              <a:t>Javascript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 err="1">
                <a:solidFill>
                  <a:srgbClr val="0070AD"/>
                </a:solidFill>
              </a:rPr>
              <a:t>Add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err="1"/>
              <a:t>Github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US" altLang="en-US" dirty="0"/>
              <a:t>HARSHITHA R</a:t>
            </a:r>
            <a:endParaRPr lang="en-IN" altLang="en-US" dirty="0"/>
          </a:p>
        </p:txBody>
      </p:sp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0" y="160813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3281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10F4102B-6C81-4F12-1FA3-10F1A289DF38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50" b="9850"/>
          <a:stretch>
            <a:fillRect/>
          </a:stretch>
        </p:blipFill>
        <p:spPr>
          <a:xfrm>
            <a:off x="485917" y="130481"/>
            <a:ext cx="1589247" cy="183106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972</TotalTime>
  <Words>190</Words>
  <Application>Microsoft Office PowerPoint</Application>
  <PresentationFormat>Widescreen</PresentationFormat>
  <Paragraphs>6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Harshitha R</cp:lastModifiedBy>
  <cp:revision>100</cp:revision>
  <dcterms:created xsi:type="dcterms:W3CDTF">2017-12-08T05:27:40Z</dcterms:created>
  <dcterms:modified xsi:type="dcterms:W3CDTF">2023-01-05T10:24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